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109" r:id="rId2"/>
  </p:sldIdLst>
  <p:sldSz cx="12192000" cy="6858000"/>
  <p:notesSz cx="6858000" cy="9144000"/>
  <p:custDataLst>
    <p:tags r:id="rId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504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70B5"/>
    <a:srgbClr val="BFBFBF"/>
    <a:srgbClr val="201F27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9" autoAdjust="0"/>
    <p:restoredTop sz="96196" autoAdjust="0"/>
  </p:normalViewPr>
  <p:slideViewPr>
    <p:cSldViewPr snapToGrid="0" showGuides="1">
      <p:cViewPr varScale="1">
        <p:scale>
          <a:sx n="117" d="100"/>
          <a:sy n="117" d="100"/>
        </p:scale>
        <p:origin x="224" y="184"/>
      </p:cViewPr>
      <p:guideLst>
        <p:guide orient="horz" pos="3960"/>
        <p:guide pos="504"/>
        <p:guide pos="7416"/>
        <p:guide orient="horz" pos="6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87E80B71-83FD-4129-90E7-21B591712D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688D2A-BDD6-4162-8E92-8A35DC9BF0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952177-5B6C-4BAD-944C-CFEC52895E05}" type="datetimeFigureOut">
              <a:rPr lang="es-ES" smtClean="0"/>
              <a:t>5/10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25ADB-CBE5-46A9-933F-31B413E056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197B392-8955-4524-A813-E6D5159493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F9DDE-185B-4210-98DE-77BF9A75DF4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21210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BC1E6-5932-436B-9DAF-AC27ADFA0E22}" type="datetimeFigureOut">
              <a:rPr lang="es-ES" smtClean="0"/>
              <a:t>5/10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5E4F2-696C-4C9E-B6DB-A6666A4B9A67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71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áfico 3">
            <a:extLst>
              <a:ext uri="{FF2B5EF4-FFF2-40B4-BE49-F238E27FC236}">
                <a16:creationId xmlns:a16="http://schemas.microsoft.com/office/drawing/2014/main" id="{51AA479B-D64B-46A7-AC66-56AA75234E65}"/>
              </a:ext>
            </a:extLst>
          </p:cNvPr>
          <p:cNvSpPr/>
          <p:nvPr userDrawn="1"/>
        </p:nvSpPr>
        <p:spPr>
          <a:xfrm rot="16200000">
            <a:off x="-823362" y="-3782851"/>
            <a:ext cx="13478574" cy="20747249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317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FE7DFE4D-0DAF-438A-9C98-D37546188A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4338638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43" name="Subtítulo 2">
            <a:extLst>
              <a:ext uri="{FF2B5EF4-FFF2-40B4-BE49-F238E27FC236}">
                <a16:creationId xmlns:a16="http://schemas.microsoft.com/office/drawing/2014/main" id="{008F3E98-3E47-4911-AFFE-BEE2BB0706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4338638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AC73A706-269C-45F6-AE8E-D14E768602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4" name="Pentágono 3">
            <a:extLst>
              <a:ext uri="{FF2B5EF4-FFF2-40B4-BE49-F238E27FC236}">
                <a16:creationId xmlns:a16="http://schemas.microsoft.com/office/drawing/2014/main" id="{A399D291-CAD0-4548-A2A5-913CC51F04EF}"/>
              </a:ext>
            </a:extLst>
          </p:cNvPr>
          <p:cNvSpPr/>
          <p:nvPr userDrawn="1"/>
        </p:nvSpPr>
        <p:spPr>
          <a:xfrm rot="5400000">
            <a:off x="764761" y="-656159"/>
            <a:ext cx="4178292" cy="5230273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402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7A791D-DD45-4C9F-A43F-EEDBF2798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5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128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73DCD8-6F75-4E78-B7AE-BEA59769D7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Marcador de texto 3">
            <a:extLst>
              <a:ext uri="{FF2B5EF4-FFF2-40B4-BE49-F238E27FC236}">
                <a16:creationId xmlns:a16="http://schemas.microsoft.com/office/drawing/2014/main" id="{AC20D662-DAD3-44B9-9629-FA35D430B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C3B4707C-D65E-447E-B87B-7BB9D21672E7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número de diapositiva 40">
            <a:extLst>
              <a:ext uri="{FF2B5EF4-FFF2-40B4-BE49-F238E27FC236}">
                <a16:creationId xmlns:a16="http://schemas.microsoft.com/office/drawing/2014/main" id="{A370E13C-C67A-41AD-B07A-D0C9C7EBA033}"/>
              </a:ext>
            </a:extLst>
          </p:cNvPr>
          <p:cNvSpPr txBox="1">
            <a:spLocks/>
          </p:cNvSpPr>
          <p:nvPr userDrawn="1"/>
        </p:nvSpPr>
        <p:spPr>
          <a:xfrm>
            <a:off x="11210924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4802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box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299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24757A0B-9E3E-4901-A538-F9214971EC4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524623" y="1756229"/>
            <a:ext cx="5257801" cy="3950380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B6F58068-89C8-4FD6-94F5-2C65218AF216}"/>
              </a:ext>
            </a:extLst>
          </p:cNvPr>
          <p:cNvCxnSpPr>
            <a:cxnSpLocks/>
          </p:cNvCxnSpPr>
          <p:nvPr userDrawn="1"/>
        </p:nvCxnSpPr>
        <p:spPr>
          <a:xfrm>
            <a:off x="832757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A0C2BEB5-9FD9-4308-B389-F3813B1D3ECE}"/>
              </a:ext>
            </a:extLst>
          </p:cNvPr>
          <p:cNvCxnSpPr>
            <a:cxnSpLocks/>
          </p:cNvCxnSpPr>
          <p:nvPr userDrawn="1"/>
        </p:nvCxnSpPr>
        <p:spPr>
          <a:xfrm>
            <a:off x="6481081" y="1574054"/>
            <a:ext cx="5301343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C045D449-C8BC-42C2-ABFB-2A3AA001F4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C567F90E-3837-4C9B-9F2B-4F3C5C55F1F8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84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9" y="1285875"/>
            <a:ext cx="10944225" cy="4891088"/>
          </a:xfr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Char char="-"/>
              <a:defRPr sz="16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Char char="»"/>
              <a:defRPr sz="16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Char char="}"/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ángulo 33">
            <a:extLst>
              <a:ext uri="{FF2B5EF4-FFF2-40B4-BE49-F238E27FC236}">
                <a16:creationId xmlns:a16="http://schemas.microsoft.com/office/drawing/2014/main" id="{C8896D77-5979-4C2B-8820-98EDCEE153EC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Marcador de número de diapositiva 40">
            <a:extLst>
              <a:ext uri="{FF2B5EF4-FFF2-40B4-BE49-F238E27FC236}">
                <a16:creationId xmlns:a16="http://schemas.microsoft.com/office/drawing/2014/main" id="{129DD8E1-8839-4D97-96B9-383605561A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8711296-954C-4330-98D3-79A4E2498F8B}"/>
              </a:ext>
            </a:extLst>
          </p:cNvPr>
          <p:cNvSpPr txBox="1"/>
          <p:nvPr userDrawn="1"/>
        </p:nvSpPr>
        <p:spPr>
          <a:xfrm>
            <a:off x="838199" y="192113"/>
            <a:ext cx="6284259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1pPr>
            <a:lvl2pPr marL="444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2pPr>
            <a:lvl3pPr marL="889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3pPr>
            <a:lvl4pPr marL="13335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4pPr>
            <a:lvl5pPr marL="177800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SF Pro Display Semibold" panose="00000700000000000000" pitchFamily="2" charset="0"/>
                <a:ea typeface="SF Pro Display Semibold" panose="000007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GB" noProof="0" dirty="0"/>
              <a:t>Africa Foresight Group – ERP Audit for </a:t>
            </a:r>
            <a:r>
              <a:rPr lang="en-GB" noProof="0" dirty="0" err="1"/>
              <a:t>SIIFAX</a:t>
            </a:r>
            <a:r>
              <a:rPr lang="en-GB" noProof="0" dirty="0"/>
              <a:t> Group</a:t>
            </a:r>
            <a:endParaRPr lang="es-ES" dirty="0" err="1"/>
          </a:p>
        </p:txBody>
      </p:sp>
      <p:sp>
        <p:nvSpPr>
          <p:cNvPr id="8" name="Marcador de texto 3">
            <a:extLst>
              <a:ext uri="{FF2B5EF4-FFF2-40B4-BE49-F238E27FC236}">
                <a16:creationId xmlns:a16="http://schemas.microsoft.com/office/drawing/2014/main" id="{013FC5A4-76D3-49C0-A59C-A1352AE5AF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50F02B2A-6C63-406C-A2C3-E0528B469C89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401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8" y="365125"/>
            <a:ext cx="10944225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40758-0407-4FDA-BC42-411C0B479C6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19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8A030EAF-A3E0-4D25-98E1-3D4F6F92D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801408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036AFD4-9EEE-49E8-8534-D2C514CB448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764613" y="1989549"/>
            <a:ext cx="3017808" cy="1862767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PF Square Sans Pro" panose="02000506040000020004" pitchFamily="2" charset="0"/>
              <a:buNone/>
              <a:defRPr sz="1600"/>
            </a:lvl1pPr>
            <a:lvl2pPr marL="4572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Calibri" panose="020F0502020204030204" pitchFamily="34" charset="0"/>
              <a:buNone/>
              <a:defRPr sz="1600"/>
            </a:lvl2pPr>
            <a:lvl3pPr marL="9144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Wingdings 3" panose="05040102010807070707" pitchFamily="18" charset="2"/>
              <a:buNone/>
              <a:defRPr sz="1600"/>
            </a:lvl3pPr>
            <a:lvl4pPr marL="1371600" indent="0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None/>
              <a:defRPr sz="1600"/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defRPr sz="1600"/>
            </a:lvl5pPr>
          </a:lstStyle>
          <a:p>
            <a:pPr lvl="0"/>
            <a:r>
              <a:rPr lang="en-GB" noProof="0"/>
              <a:t>Text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88D8799-5A55-4794-B139-29EA5FB50D3E}"/>
              </a:ext>
            </a:extLst>
          </p:cNvPr>
          <p:cNvCxnSpPr>
            <a:cxnSpLocks/>
          </p:cNvCxnSpPr>
          <p:nvPr userDrawn="1"/>
        </p:nvCxnSpPr>
        <p:spPr>
          <a:xfrm>
            <a:off x="83819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7A74497-8180-40FD-8738-B249B4B39B1A}"/>
              </a:ext>
            </a:extLst>
          </p:cNvPr>
          <p:cNvCxnSpPr>
            <a:cxnSpLocks/>
          </p:cNvCxnSpPr>
          <p:nvPr userDrawn="1"/>
        </p:nvCxnSpPr>
        <p:spPr>
          <a:xfrm>
            <a:off x="4801408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CF88D473-EB95-498A-918E-626400D9FE76}"/>
              </a:ext>
            </a:extLst>
          </p:cNvPr>
          <p:cNvCxnSpPr>
            <a:cxnSpLocks/>
          </p:cNvCxnSpPr>
          <p:nvPr userDrawn="1"/>
        </p:nvCxnSpPr>
        <p:spPr>
          <a:xfrm>
            <a:off x="8764613" y="4288225"/>
            <a:ext cx="3060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33E11ED8-A3DB-4CC1-988C-5659486EB324}"/>
              </a:ext>
            </a:extLst>
          </p:cNvPr>
          <p:cNvSpPr/>
          <p:nvPr userDrawn="1"/>
        </p:nvSpPr>
        <p:spPr>
          <a:xfrm>
            <a:off x="30607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927FAF4F-3B73-465B-B9DA-C939967FDEB6}"/>
              </a:ext>
            </a:extLst>
          </p:cNvPr>
          <p:cNvSpPr/>
          <p:nvPr userDrawn="1"/>
        </p:nvSpPr>
        <p:spPr>
          <a:xfrm>
            <a:off x="6972361" y="4040575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D06242BA-2C25-4723-92B6-238899743D90}"/>
              </a:ext>
            </a:extLst>
          </p:cNvPr>
          <p:cNvSpPr/>
          <p:nvPr userDrawn="1"/>
        </p:nvSpPr>
        <p:spPr>
          <a:xfrm>
            <a:off x="10935571" y="4032292"/>
            <a:ext cx="733253" cy="436684"/>
          </a:xfrm>
          <a:custGeom>
            <a:avLst/>
            <a:gdLst>
              <a:gd name="connsiteX0" fmla="*/ 2547938 w 2547938"/>
              <a:gd name="connsiteY0" fmla="*/ 0 h 1517406"/>
              <a:gd name="connsiteX1" fmla="*/ 2547938 w 2547938"/>
              <a:gd name="connsiteY1" fmla="*/ 1517406 h 1517406"/>
              <a:gd name="connsiteX2" fmla="*/ 701675 w 2547938"/>
              <a:gd name="connsiteY2" fmla="*/ 1514231 h 1517406"/>
              <a:gd name="connsiteX3" fmla="*/ 4559 w 2547938"/>
              <a:gd name="connsiteY3" fmla="*/ 625487 h 1517406"/>
              <a:gd name="connsiteX4" fmla="*/ 0 w 2547938"/>
              <a:gd name="connsiteY4" fmla="*/ 623888 h 1517406"/>
              <a:gd name="connsiteX5" fmla="*/ 2772 w 2547938"/>
              <a:gd name="connsiteY5" fmla="*/ 623209 h 1517406"/>
              <a:gd name="connsiteX6" fmla="*/ 0 w 2547938"/>
              <a:gd name="connsiteY6" fmla="*/ 619675 h 1517406"/>
              <a:gd name="connsiteX7" fmla="*/ 7055 w 2547938"/>
              <a:gd name="connsiteY7" fmla="*/ 622161 h 151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7938" h="1517406">
                <a:moveTo>
                  <a:pt x="2547938" y="0"/>
                </a:moveTo>
                <a:lnTo>
                  <a:pt x="2547938" y="1517406"/>
                </a:lnTo>
                <a:lnTo>
                  <a:pt x="701675" y="1514231"/>
                </a:lnTo>
                <a:lnTo>
                  <a:pt x="4559" y="625487"/>
                </a:lnTo>
                <a:lnTo>
                  <a:pt x="0" y="623888"/>
                </a:lnTo>
                <a:lnTo>
                  <a:pt x="2772" y="623209"/>
                </a:lnTo>
                <a:lnTo>
                  <a:pt x="0" y="619675"/>
                </a:lnTo>
                <a:lnTo>
                  <a:pt x="7055" y="622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6E29E701-86CB-4A6F-9A01-55A61D250A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6394690"/>
            <a:ext cx="9886951" cy="365125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2pPr>
            <a:lvl3pPr marL="9144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3pPr>
            <a:lvl4pPr marL="13716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4pPr>
            <a:lvl5pPr marL="1828800" indent="0">
              <a:buNone/>
              <a:defRPr sz="8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 dirty="0" err="1"/>
              <a:t>source</a:t>
            </a:r>
            <a:endParaRPr lang="es-ES" dirty="0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B30C13F0-4731-471C-903B-AFD59A84748A}"/>
              </a:ext>
            </a:extLst>
          </p:cNvPr>
          <p:cNvCxnSpPr/>
          <p:nvPr userDrawn="1"/>
        </p:nvCxnSpPr>
        <p:spPr>
          <a:xfrm>
            <a:off x="838199" y="1043940"/>
            <a:ext cx="1135380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828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816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1"/>
            <a:ext cx="8534401" cy="3140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5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78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0/5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191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1116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10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116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18" cy="111621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5FB58B-F623-4130-80F0-47193C41BBF2}"/>
              </a:ext>
            </a:extLst>
          </p:cNvPr>
          <p:cNvSpPr/>
          <p:nvPr userDrawn="1"/>
        </p:nvSpPr>
        <p:spPr>
          <a:xfrm>
            <a:off x="5052499" y="1250374"/>
            <a:ext cx="2715768" cy="27157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B90A75-6482-4B17-B2FD-F7009F657B6C}"/>
              </a:ext>
            </a:extLst>
          </p:cNvPr>
          <p:cNvSpPr/>
          <p:nvPr userDrawn="1"/>
        </p:nvSpPr>
        <p:spPr>
          <a:xfrm>
            <a:off x="5052255" y="2612595"/>
            <a:ext cx="2716012" cy="4185020"/>
          </a:xfrm>
          <a:prstGeom prst="rect">
            <a:avLst/>
          </a:prstGeom>
          <a:solidFill>
            <a:srgbClr val="DB222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noAutofit/>
          </a:bodyPr>
          <a:lstStyle/>
          <a:p>
            <a:pPr algn="ctr" defTabSz="410751" hangingPunct="0">
              <a:defRPr/>
            </a:pPr>
            <a:endParaRPr lang="en-GH" sz="1195" kern="0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C44C5B0-5C5C-4F92-AE43-007BF1A143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18404" y="1316279"/>
            <a:ext cx="2583959" cy="2583959"/>
          </a:xfrm>
          <a:prstGeom prst="ellipse">
            <a:avLst/>
          </a:prstGeom>
          <a:ln>
            <a:noFill/>
          </a:ln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2" name="Rectangle"/>
          <p:cNvSpPr/>
          <p:nvPr/>
        </p:nvSpPr>
        <p:spPr>
          <a:xfrm>
            <a:off x="-7721" y="6783984"/>
            <a:ext cx="12207441" cy="72465"/>
          </a:xfrm>
          <a:prstGeom prst="rect">
            <a:avLst/>
          </a:prstGeom>
          <a:solidFill>
            <a:srgbClr val="CA3834"/>
          </a:solidFill>
          <a:ln w="12700">
            <a:miter lim="400000"/>
          </a:ln>
        </p:spPr>
        <p:txBody>
          <a:bodyPr lIns="35718" tIns="35718" rIns="35718" bIns="35718" anchor="ctr"/>
          <a:lstStyle/>
          <a:p>
            <a:pPr>
              <a:defRPr sz="2200" b="0">
                <a:solidFill>
                  <a:srgbClr val="CA3834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420E6-0822-4E2D-B129-F19789E7A29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52965" y="227619"/>
            <a:ext cx="10492062" cy="553998"/>
          </a:xfrm>
        </p:spPr>
        <p:txBody>
          <a:bodyPr wrap="square" lIns="0" tIns="0" rIns="0" bIns="0" anchor="t" anchorCtr="0">
            <a:spAutoFit/>
          </a:bodyPr>
          <a:lstStyle>
            <a:lvl1pPr>
              <a:defRPr lang="en-US" sz="4000" dirty="0"/>
            </a:lvl1pPr>
          </a:lstStyle>
          <a:p>
            <a:pPr lvl="0" fontAlgn="auto" hangingPunct="1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FA1644-99CD-459B-B844-A6F1FE3942BA}"/>
              </a:ext>
            </a:extLst>
          </p:cNvPr>
          <p:cNvGrpSpPr/>
          <p:nvPr userDrawn="1"/>
        </p:nvGrpSpPr>
        <p:grpSpPr>
          <a:xfrm>
            <a:off x="10245649" y="3292153"/>
            <a:ext cx="2882222" cy="4400056"/>
            <a:chOff x="10877168" y="5342218"/>
            <a:chExt cx="3513981" cy="5364348"/>
          </a:xfrm>
        </p:grpSpPr>
        <p:pic>
          <p:nvPicPr>
            <p:cNvPr id="12" name="Image" descr="Image">
              <a:extLst>
                <a:ext uri="{FF2B5EF4-FFF2-40B4-BE49-F238E27FC236}">
                  <a16:creationId xmlns:a16="http://schemas.microsoft.com/office/drawing/2014/main" id="{815E75A5-DC17-431B-AEBD-2AFEA0B6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rcRect/>
            <a:stretch>
              <a:fillRect/>
            </a:stretch>
          </p:blipFill>
          <p:spPr>
            <a:xfrm rot="18900000">
              <a:off x="10877168" y="7354873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13" name="Image" descr="Image">
              <a:extLst>
                <a:ext uri="{FF2B5EF4-FFF2-40B4-BE49-F238E27FC236}">
                  <a16:creationId xmlns:a16="http://schemas.microsoft.com/office/drawing/2014/main" id="{B1F7D425-DE41-4C1C-BD22-46442DCA8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2513"/>
            </a:blip>
            <a:stretch>
              <a:fillRect/>
            </a:stretch>
          </p:blipFill>
          <p:spPr>
            <a:xfrm rot="18900000">
              <a:off x="12175711" y="5342218"/>
              <a:ext cx="2215438" cy="335169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Slide Number">
            <a:extLst>
              <a:ext uri="{FF2B5EF4-FFF2-40B4-BE49-F238E27FC236}">
                <a16:creationId xmlns:a16="http://schemas.microsoft.com/office/drawing/2014/main" id="{4ED2E06C-B215-4C96-B74D-7E360FA0DA6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255791" y="366760"/>
            <a:ext cx="282130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46823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 small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290CB68A-763B-496D-8A3F-B21334F91698}"/>
              </a:ext>
            </a:extLst>
          </p:cNvPr>
          <p:cNvGrpSpPr/>
          <p:nvPr userDrawn="1"/>
        </p:nvGrpSpPr>
        <p:grpSpPr>
          <a:xfrm>
            <a:off x="0" y="4851400"/>
            <a:ext cx="12192000" cy="2006600"/>
            <a:chOff x="0" y="4963396"/>
            <a:chExt cx="13401674" cy="1894604"/>
          </a:xfrm>
        </p:grpSpPr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B4752F91-3BAD-49F6-AA1C-1CAB138AC454}"/>
                </a:ext>
              </a:extLst>
            </p:cNvPr>
            <p:cNvGrpSpPr/>
            <p:nvPr userDrawn="1"/>
          </p:nvGrpSpPr>
          <p:grpSpPr>
            <a:xfrm>
              <a:off x="0" y="4963396"/>
              <a:ext cx="6705600" cy="1894604"/>
              <a:chOff x="0" y="3413266"/>
              <a:chExt cx="12192000" cy="3444734"/>
            </a:xfrm>
          </p:grpSpPr>
          <p:sp>
            <p:nvSpPr>
              <p:cNvPr id="27" name="Triángulo rectángulo 26">
                <a:extLst>
                  <a:ext uri="{FF2B5EF4-FFF2-40B4-BE49-F238E27FC236}">
                    <a16:creationId xmlns:a16="http://schemas.microsoft.com/office/drawing/2014/main" id="{76AA6F04-055A-41B8-BFF1-699138499884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8" name="Rectángulo 10">
                <a:extLst>
                  <a:ext uri="{FF2B5EF4-FFF2-40B4-BE49-F238E27FC236}">
                    <a16:creationId xmlns:a16="http://schemas.microsoft.com/office/drawing/2014/main" id="{4451C052-5B90-4E5B-8069-2DFD27F78E14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Triángulo rectángulo 11">
                <a:extLst>
                  <a:ext uri="{FF2B5EF4-FFF2-40B4-BE49-F238E27FC236}">
                    <a16:creationId xmlns:a16="http://schemas.microsoft.com/office/drawing/2014/main" id="{E4085756-F93A-4085-9ECA-5E1B19C3B03A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Forma libre: forma 30">
                <a:extLst>
                  <a:ext uri="{FF2B5EF4-FFF2-40B4-BE49-F238E27FC236}">
                    <a16:creationId xmlns:a16="http://schemas.microsoft.com/office/drawing/2014/main" id="{F28F5F66-A1ED-4251-8C2E-D82A8B3EBC86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8" name="Forma libre: forma 37">
                <a:extLst>
                  <a:ext uri="{FF2B5EF4-FFF2-40B4-BE49-F238E27FC236}">
                    <a16:creationId xmlns:a16="http://schemas.microsoft.com/office/drawing/2014/main" id="{C153FCD3-F150-470B-9719-7F2B46B912A8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40" name="Rectángulo 5">
                <a:extLst>
                  <a:ext uri="{FF2B5EF4-FFF2-40B4-BE49-F238E27FC236}">
                    <a16:creationId xmlns:a16="http://schemas.microsoft.com/office/drawing/2014/main" id="{D9BD065F-10A4-46BF-A75B-7AAE394D3BE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99CB9E5-B5A5-4B16-8B1B-292D50457BC8}"/>
                </a:ext>
              </a:extLst>
            </p:cNvPr>
            <p:cNvGrpSpPr/>
            <p:nvPr userDrawn="1"/>
          </p:nvGrpSpPr>
          <p:grpSpPr>
            <a:xfrm flipH="1">
              <a:off x="6696074" y="4963396"/>
              <a:ext cx="6705600" cy="1894604"/>
              <a:chOff x="0" y="3413266"/>
              <a:chExt cx="12192000" cy="3444734"/>
            </a:xfrm>
          </p:grpSpPr>
          <p:sp>
            <p:nvSpPr>
              <p:cNvPr id="13" name="Triángulo rectángulo 12">
                <a:extLst>
                  <a:ext uri="{FF2B5EF4-FFF2-40B4-BE49-F238E27FC236}">
                    <a16:creationId xmlns:a16="http://schemas.microsoft.com/office/drawing/2014/main" id="{ECE871C8-99B6-4B5A-90FC-0B3AE537302C}"/>
                  </a:ext>
                </a:extLst>
              </p:cNvPr>
              <p:cNvSpPr/>
              <p:nvPr userDrawn="1"/>
            </p:nvSpPr>
            <p:spPr>
              <a:xfrm>
                <a:off x="3094891" y="3692769"/>
                <a:ext cx="3956539" cy="3165231"/>
              </a:xfrm>
              <a:prstGeom prst="rtTriangl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Rectángulo 10">
                <a:extLst>
                  <a:ext uri="{FF2B5EF4-FFF2-40B4-BE49-F238E27FC236}">
                    <a16:creationId xmlns:a16="http://schemas.microsoft.com/office/drawing/2014/main" id="{C1F66F69-777C-47E9-B2C0-290C92C647A3}"/>
                  </a:ext>
                </a:extLst>
              </p:cNvPr>
              <p:cNvSpPr/>
              <p:nvPr userDrawn="1"/>
            </p:nvSpPr>
            <p:spPr>
              <a:xfrm>
                <a:off x="9694862" y="6032500"/>
                <a:ext cx="2497137" cy="825500"/>
              </a:xfrm>
              <a:custGeom>
                <a:avLst/>
                <a:gdLst>
                  <a:gd name="connsiteX0" fmla="*/ 0 w 2235200"/>
                  <a:gd name="connsiteY0" fmla="*/ 0 h 825500"/>
                  <a:gd name="connsiteX1" fmla="*/ 2235200 w 2235200"/>
                  <a:gd name="connsiteY1" fmla="*/ 0 h 825500"/>
                  <a:gd name="connsiteX2" fmla="*/ 2235200 w 2235200"/>
                  <a:gd name="connsiteY2" fmla="*/ 825500 h 825500"/>
                  <a:gd name="connsiteX3" fmla="*/ 0 w 2235200"/>
                  <a:gd name="connsiteY3" fmla="*/ 825500 h 825500"/>
                  <a:gd name="connsiteX4" fmla="*/ 0 w 2235200"/>
                  <a:gd name="connsiteY4" fmla="*/ 0 h 825500"/>
                  <a:gd name="connsiteX0" fmla="*/ 261937 w 2497137"/>
                  <a:gd name="connsiteY0" fmla="*/ 0 h 825500"/>
                  <a:gd name="connsiteX1" fmla="*/ 2497137 w 2497137"/>
                  <a:gd name="connsiteY1" fmla="*/ 0 h 825500"/>
                  <a:gd name="connsiteX2" fmla="*/ 2497137 w 2497137"/>
                  <a:gd name="connsiteY2" fmla="*/ 825500 h 825500"/>
                  <a:gd name="connsiteX3" fmla="*/ 0 w 2497137"/>
                  <a:gd name="connsiteY3" fmla="*/ 825500 h 825500"/>
                  <a:gd name="connsiteX4" fmla="*/ 261937 w 2497137"/>
                  <a:gd name="connsiteY4" fmla="*/ 0 h 82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7137" h="825500">
                    <a:moveTo>
                      <a:pt x="261937" y="0"/>
                    </a:moveTo>
                    <a:lnTo>
                      <a:pt x="2497137" y="0"/>
                    </a:lnTo>
                    <a:lnTo>
                      <a:pt x="2497137" y="825500"/>
                    </a:lnTo>
                    <a:lnTo>
                      <a:pt x="0" y="825500"/>
                    </a:lnTo>
                    <a:lnTo>
                      <a:pt x="261937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5" name="Triángulo rectángulo 11">
                <a:extLst>
                  <a:ext uri="{FF2B5EF4-FFF2-40B4-BE49-F238E27FC236}">
                    <a16:creationId xmlns:a16="http://schemas.microsoft.com/office/drawing/2014/main" id="{A82045ED-A092-4168-B841-F0F78E64A2AC}"/>
                  </a:ext>
                </a:extLst>
              </p:cNvPr>
              <p:cNvSpPr/>
              <p:nvPr userDrawn="1"/>
            </p:nvSpPr>
            <p:spPr>
              <a:xfrm>
                <a:off x="9644062" y="4312444"/>
                <a:ext cx="2547938" cy="897731"/>
              </a:xfrm>
              <a:custGeom>
                <a:avLst/>
                <a:gdLst>
                  <a:gd name="connsiteX0" fmla="*/ 0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  <a:gd name="connsiteX3" fmla="*/ 0 w 2547938"/>
                  <a:gd name="connsiteY3" fmla="*/ 897731 h 897731"/>
                  <a:gd name="connsiteX0" fmla="*/ 2547938 w 2547938"/>
                  <a:gd name="connsiteY0" fmla="*/ 897731 h 897731"/>
                  <a:gd name="connsiteX1" fmla="*/ 0 w 2547938"/>
                  <a:gd name="connsiteY1" fmla="*/ 0 h 897731"/>
                  <a:gd name="connsiteX2" fmla="*/ 2547938 w 2547938"/>
                  <a:gd name="connsiteY2" fmla="*/ 897731 h 897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7938" h="897731">
                    <a:moveTo>
                      <a:pt x="2547938" y="897731"/>
                    </a:moveTo>
                    <a:lnTo>
                      <a:pt x="0" y="0"/>
                    </a:lnTo>
                    <a:lnTo>
                      <a:pt x="2547938" y="897731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6B53BC36-7CBC-4B75-9964-3F70CD57E124}"/>
                  </a:ext>
                </a:extLst>
              </p:cNvPr>
              <p:cNvSpPr/>
              <p:nvPr userDrawn="1"/>
            </p:nvSpPr>
            <p:spPr>
              <a:xfrm>
                <a:off x="9644062" y="3692768"/>
                <a:ext cx="2547938" cy="1517406"/>
              </a:xfrm>
              <a:custGeom>
                <a:avLst/>
                <a:gdLst>
                  <a:gd name="connsiteX0" fmla="*/ 2547938 w 2547938"/>
                  <a:gd name="connsiteY0" fmla="*/ 0 h 1517406"/>
                  <a:gd name="connsiteX1" fmla="*/ 2547938 w 2547938"/>
                  <a:gd name="connsiteY1" fmla="*/ 1517406 h 1517406"/>
                  <a:gd name="connsiteX2" fmla="*/ 701675 w 2547938"/>
                  <a:gd name="connsiteY2" fmla="*/ 1514231 h 1517406"/>
                  <a:gd name="connsiteX3" fmla="*/ 4559 w 2547938"/>
                  <a:gd name="connsiteY3" fmla="*/ 625487 h 1517406"/>
                  <a:gd name="connsiteX4" fmla="*/ 0 w 2547938"/>
                  <a:gd name="connsiteY4" fmla="*/ 623888 h 1517406"/>
                  <a:gd name="connsiteX5" fmla="*/ 2772 w 2547938"/>
                  <a:gd name="connsiteY5" fmla="*/ 623209 h 1517406"/>
                  <a:gd name="connsiteX6" fmla="*/ 0 w 2547938"/>
                  <a:gd name="connsiteY6" fmla="*/ 619675 h 1517406"/>
                  <a:gd name="connsiteX7" fmla="*/ 7055 w 2547938"/>
                  <a:gd name="connsiteY7" fmla="*/ 622161 h 151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47938" h="1517406">
                    <a:moveTo>
                      <a:pt x="2547938" y="0"/>
                    </a:moveTo>
                    <a:lnTo>
                      <a:pt x="2547938" y="1517406"/>
                    </a:lnTo>
                    <a:lnTo>
                      <a:pt x="701675" y="1514231"/>
                    </a:lnTo>
                    <a:lnTo>
                      <a:pt x="4559" y="625487"/>
                    </a:lnTo>
                    <a:lnTo>
                      <a:pt x="0" y="623888"/>
                    </a:lnTo>
                    <a:lnTo>
                      <a:pt x="2772" y="623209"/>
                    </a:lnTo>
                    <a:lnTo>
                      <a:pt x="0" y="619675"/>
                    </a:lnTo>
                    <a:lnTo>
                      <a:pt x="7055" y="62216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516516F-2223-4B0F-A880-6EDC09C0EDAD}"/>
                  </a:ext>
                </a:extLst>
              </p:cNvPr>
              <p:cNvSpPr/>
              <p:nvPr userDrawn="1"/>
            </p:nvSpPr>
            <p:spPr>
              <a:xfrm>
                <a:off x="0" y="4121437"/>
                <a:ext cx="2358556" cy="2736563"/>
              </a:xfrm>
              <a:custGeom>
                <a:avLst/>
                <a:gdLst>
                  <a:gd name="connsiteX0" fmla="*/ 835272 w 2358556"/>
                  <a:gd name="connsiteY0" fmla="*/ 0 h 2736563"/>
                  <a:gd name="connsiteX1" fmla="*/ 2358556 w 2358556"/>
                  <a:gd name="connsiteY1" fmla="*/ 2103068 h 2736563"/>
                  <a:gd name="connsiteX2" fmla="*/ 1821862 w 2358556"/>
                  <a:gd name="connsiteY2" fmla="*/ 2736563 h 2736563"/>
                  <a:gd name="connsiteX3" fmla="*/ 1184 w 2358556"/>
                  <a:gd name="connsiteY3" fmla="*/ 2736563 h 2736563"/>
                  <a:gd name="connsiteX4" fmla="*/ 0 w 2358556"/>
                  <a:gd name="connsiteY4" fmla="*/ 2734944 h 2736563"/>
                  <a:gd name="connsiteX5" fmla="*/ 0 w 2358556"/>
                  <a:gd name="connsiteY5" fmla="*/ 478869 h 2736563"/>
                  <a:gd name="connsiteX6" fmla="*/ 835272 w 2358556"/>
                  <a:gd name="connsiteY6" fmla="*/ 0 h 273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8556" h="2736563">
                    <a:moveTo>
                      <a:pt x="835272" y="0"/>
                    </a:moveTo>
                    <a:lnTo>
                      <a:pt x="2358556" y="2103068"/>
                    </a:lnTo>
                    <a:lnTo>
                      <a:pt x="1821862" y="2736563"/>
                    </a:lnTo>
                    <a:lnTo>
                      <a:pt x="1184" y="2736563"/>
                    </a:lnTo>
                    <a:lnTo>
                      <a:pt x="0" y="2734944"/>
                    </a:lnTo>
                    <a:lnTo>
                      <a:pt x="0" y="478869"/>
                    </a:lnTo>
                    <a:lnTo>
                      <a:pt x="835272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8" name="Rectángulo 5">
                <a:extLst>
                  <a:ext uri="{FF2B5EF4-FFF2-40B4-BE49-F238E27FC236}">
                    <a16:creationId xmlns:a16="http://schemas.microsoft.com/office/drawing/2014/main" id="{43B9960D-A8E2-40FC-9B49-36F468AE8E1D}"/>
                  </a:ext>
                </a:extLst>
              </p:cNvPr>
              <p:cNvSpPr/>
              <p:nvPr userDrawn="1"/>
            </p:nvSpPr>
            <p:spPr>
              <a:xfrm rot="2392396">
                <a:off x="5182813" y="3413266"/>
                <a:ext cx="4794444" cy="2120748"/>
              </a:xfrm>
              <a:custGeom>
                <a:avLst/>
                <a:gdLst>
                  <a:gd name="connsiteX0" fmla="*/ 0 w 4804144"/>
                  <a:gd name="connsiteY0" fmla="*/ 0 h 914400"/>
                  <a:gd name="connsiteX1" fmla="*/ 4804144 w 4804144"/>
                  <a:gd name="connsiteY1" fmla="*/ 0 h 914400"/>
                  <a:gd name="connsiteX2" fmla="*/ 4804144 w 4804144"/>
                  <a:gd name="connsiteY2" fmla="*/ 914400 h 914400"/>
                  <a:gd name="connsiteX3" fmla="*/ 0 w 4804144"/>
                  <a:gd name="connsiteY3" fmla="*/ 914400 h 914400"/>
                  <a:gd name="connsiteX4" fmla="*/ 0 w 4804144"/>
                  <a:gd name="connsiteY4" fmla="*/ 0 h 914400"/>
                  <a:gd name="connsiteX0" fmla="*/ 0 w 4804144"/>
                  <a:gd name="connsiteY0" fmla="*/ 1206348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0 w 4804144"/>
                  <a:gd name="connsiteY4" fmla="*/ 1206348 h 2120748"/>
                  <a:gd name="connsiteX0" fmla="*/ 2280773 w 4804144"/>
                  <a:gd name="connsiteY0" fmla="*/ 145082 h 2120748"/>
                  <a:gd name="connsiteX1" fmla="*/ 3538287 w 4804144"/>
                  <a:gd name="connsiteY1" fmla="*/ 0 h 2120748"/>
                  <a:gd name="connsiteX2" fmla="*/ 4804144 w 4804144"/>
                  <a:gd name="connsiteY2" fmla="*/ 2120748 h 2120748"/>
                  <a:gd name="connsiteX3" fmla="*/ 0 w 4804144"/>
                  <a:gd name="connsiteY3" fmla="*/ 2120748 h 2120748"/>
                  <a:gd name="connsiteX4" fmla="*/ 2280773 w 4804144"/>
                  <a:gd name="connsiteY4" fmla="*/ 145082 h 2120748"/>
                  <a:gd name="connsiteX0" fmla="*/ 2271073 w 4794444"/>
                  <a:gd name="connsiteY0" fmla="*/ 145082 h 2120748"/>
                  <a:gd name="connsiteX1" fmla="*/ 3528587 w 4794444"/>
                  <a:gd name="connsiteY1" fmla="*/ 0 h 2120748"/>
                  <a:gd name="connsiteX2" fmla="*/ 4794444 w 4794444"/>
                  <a:gd name="connsiteY2" fmla="*/ 2120748 h 2120748"/>
                  <a:gd name="connsiteX3" fmla="*/ 0 w 4794444"/>
                  <a:gd name="connsiteY3" fmla="*/ 2072930 h 2120748"/>
                  <a:gd name="connsiteX4" fmla="*/ 2271073 w 4794444"/>
                  <a:gd name="connsiteY4" fmla="*/ 145082 h 2120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4444" h="2120748">
                    <a:moveTo>
                      <a:pt x="2271073" y="145082"/>
                    </a:moveTo>
                    <a:lnTo>
                      <a:pt x="3528587" y="0"/>
                    </a:lnTo>
                    <a:lnTo>
                      <a:pt x="4794444" y="2120748"/>
                    </a:lnTo>
                    <a:lnTo>
                      <a:pt x="0" y="2072930"/>
                    </a:lnTo>
                    <a:lnTo>
                      <a:pt x="2271073" y="1450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</p:grpSp>
      <p:pic>
        <p:nvPicPr>
          <p:cNvPr id="20" name="Gráfico 19">
            <a:extLst>
              <a:ext uri="{FF2B5EF4-FFF2-40B4-BE49-F238E27FC236}">
                <a16:creationId xmlns:a16="http://schemas.microsoft.com/office/drawing/2014/main" id="{7BA5D2E8-F7C7-417D-A060-51A7F053B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850" y="482843"/>
            <a:ext cx="1944000" cy="733765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08DF8BF5-B401-4554-91CA-B471D0D5BB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0062" y="250616"/>
            <a:ext cx="9144000" cy="2387600"/>
          </a:xfrm>
        </p:spPr>
        <p:txBody>
          <a:bodyPr anchor="b"/>
          <a:lstStyle>
            <a:lvl1pPr algn="l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24" name="Subtítulo 2">
            <a:extLst>
              <a:ext uri="{FF2B5EF4-FFF2-40B4-BE49-F238E27FC236}">
                <a16:creationId xmlns:a16="http://schemas.microsoft.com/office/drawing/2014/main" id="{D6CFD4FC-03A8-43E9-A50E-74C8D03E3E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0062" y="2730291"/>
            <a:ext cx="9144000" cy="336594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5679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full colou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ción de imagen 20" descr="Un atardecer en una montaña&#10;&#10;Descripción generada automáticamente">
            <a:extLst>
              <a:ext uri="{FF2B5EF4-FFF2-40B4-BE49-F238E27FC236}">
                <a16:creationId xmlns:a16="http://schemas.microsoft.com/office/drawing/2014/main" id="{F23F5DF8-EC3C-44B9-9672-7F623564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" b="22"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6" name="Gráfico 8">
            <a:extLst>
              <a:ext uri="{FF2B5EF4-FFF2-40B4-BE49-F238E27FC236}">
                <a16:creationId xmlns:a16="http://schemas.microsoft.com/office/drawing/2014/main" id="{0C76D0EC-E180-44C4-AED1-21FE4F6077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2405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grayscal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F85D799D-0DAF-421A-9BEF-698379BAB8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" b="17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6" name="Gráfico 9">
            <a:extLst>
              <a:ext uri="{FF2B5EF4-FFF2-40B4-BE49-F238E27FC236}">
                <a16:creationId xmlns:a16="http://schemas.microsoft.com/office/drawing/2014/main" id="{66B5EC81-B878-41CD-B678-0D9B6E3C9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6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sepia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6" descr="Una imagen de un campo&#10;&#10;Descripción generada automáticamente">
            <a:extLst>
              <a:ext uri="{FF2B5EF4-FFF2-40B4-BE49-F238E27FC236}">
                <a16:creationId xmlns:a16="http://schemas.microsoft.com/office/drawing/2014/main" id="{746F548F-A116-4750-A3AE-F3DB11BE2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Date</a:t>
            </a: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3E5CA9E6-8BF8-476F-9061-23A570B31F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pic>
        <p:nvPicPr>
          <p:cNvPr id="9" name="Gráfico 9">
            <a:extLst>
              <a:ext uri="{FF2B5EF4-FFF2-40B4-BE49-F238E27FC236}">
                <a16:creationId xmlns:a16="http://schemas.microsoft.com/office/drawing/2014/main" id="{82CC9576-6C9C-4FDD-A98A-B2C05FFD6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691790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5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CAAAECAC-5B76-4FEE-87DF-E1F796987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sp>
        <p:nvSpPr>
          <p:cNvPr id="5" name="Gráfico 3">
            <a:extLst>
              <a:ext uri="{FF2B5EF4-FFF2-40B4-BE49-F238E27FC236}">
                <a16:creationId xmlns:a16="http://schemas.microsoft.com/office/drawing/2014/main" id="{FD564B71-5A2B-4142-82C1-33057B3FB530}"/>
              </a:ext>
            </a:extLst>
          </p:cNvPr>
          <p:cNvSpPr/>
          <p:nvPr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2">
                <a:lumMod val="60000"/>
                <a:lumOff val="4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EC9087C5-C4AD-4743-A79A-6CCC6479F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  <p:pic>
        <p:nvPicPr>
          <p:cNvPr id="10" name="Gráfico 8">
            <a:extLst>
              <a:ext uri="{FF2B5EF4-FFF2-40B4-BE49-F238E27FC236}">
                <a16:creationId xmlns:a16="http://schemas.microsoft.com/office/drawing/2014/main" id="{6E1A8621-848C-4267-ACCC-1553B2E9DA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850" y="482843"/>
            <a:ext cx="1944000" cy="733765"/>
          </a:xfrm>
          <a:custGeom>
            <a:avLst/>
            <a:gdLst>
              <a:gd name="connsiteX0" fmla="*/ 0 w 1944000"/>
              <a:gd name="connsiteY0" fmla="*/ 0 h 733765"/>
              <a:gd name="connsiteX1" fmla="*/ 1944000 w 1944000"/>
              <a:gd name="connsiteY1" fmla="*/ 0 h 733765"/>
              <a:gd name="connsiteX2" fmla="*/ 1944000 w 1944000"/>
              <a:gd name="connsiteY2" fmla="*/ 733765 h 733765"/>
              <a:gd name="connsiteX3" fmla="*/ 0 w 1944000"/>
              <a:gd name="connsiteY3" fmla="*/ 733765 h 733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000" h="733765">
                <a:moveTo>
                  <a:pt x="0" y="0"/>
                </a:moveTo>
                <a:lnTo>
                  <a:pt x="1944000" y="0"/>
                </a:lnTo>
                <a:lnTo>
                  <a:pt x="1944000" y="733765"/>
                </a:lnTo>
                <a:lnTo>
                  <a:pt x="0" y="733765"/>
                </a:lnTo>
                <a:close/>
              </a:path>
            </a:pathLst>
          </a:cu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6393FF-2D66-4D3D-A57E-977F7C189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57594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8" name="Subtítulo 2">
            <a:extLst>
              <a:ext uri="{FF2B5EF4-FFF2-40B4-BE49-F238E27FC236}">
                <a16:creationId xmlns:a16="http://schemas.microsoft.com/office/drawing/2014/main" id="{F6708FCE-1692-4C1E-9FB2-8D2557F189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57594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74940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4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áfico 3">
            <a:extLst>
              <a:ext uri="{FF2B5EF4-FFF2-40B4-BE49-F238E27FC236}">
                <a16:creationId xmlns:a16="http://schemas.microsoft.com/office/drawing/2014/main" id="{63EC79E4-8304-4081-9085-FDE5AFD152EE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5">
                <a:lumMod val="20000"/>
                <a:lumOff val="80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: forma 14">
            <a:extLst>
              <a:ext uri="{FF2B5EF4-FFF2-40B4-BE49-F238E27FC236}">
                <a16:creationId xmlns:a16="http://schemas.microsoft.com/office/drawing/2014/main" id="{8909CE9C-11E1-4509-A48A-BF9EB7CBF565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Pentágono 3">
            <a:extLst>
              <a:ext uri="{FF2B5EF4-FFF2-40B4-BE49-F238E27FC236}">
                <a16:creationId xmlns:a16="http://schemas.microsoft.com/office/drawing/2014/main" id="{E7F05900-A768-479E-9289-439D731A9EAC}"/>
              </a:ext>
            </a:extLst>
          </p:cNvPr>
          <p:cNvSpPr/>
          <p:nvPr userDrawn="1"/>
        </p:nvSpPr>
        <p:spPr>
          <a:xfrm rot="16200000" flipV="1">
            <a:off x="505851" y="2244803"/>
            <a:ext cx="5551668" cy="6949428"/>
          </a:xfrm>
          <a:custGeom>
            <a:avLst/>
            <a:gdLst>
              <a:gd name="connsiteX0" fmla="*/ 5 w 5111749"/>
              <a:gd name="connsiteY0" fmla="*/ 1859533 h 4868332"/>
              <a:gd name="connsiteX1" fmla="*/ 2555875 w 5111749"/>
              <a:gd name="connsiteY1" fmla="*/ 0 h 4868332"/>
              <a:gd name="connsiteX2" fmla="*/ 5111744 w 5111749"/>
              <a:gd name="connsiteY2" fmla="*/ 1859533 h 4868332"/>
              <a:gd name="connsiteX3" fmla="*/ 4135488 w 5111749"/>
              <a:gd name="connsiteY3" fmla="*/ 4868320 h 4868332"/>
              <a:gd name="connsiteX4" fmla="*/ 976261 w 5111749"/>
              <a:gd name="connsiteY4" fmla="*/ 4868320 h 4868332"/>
              <a:gd name="connsiteX5" fmla="*/ 5 w 5111749"/>
              <a:gd name="connsiteY5" fmla="*/ 1859533 h 4868332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135483 w 5140317"/>
              <a:gd name="connsiteY3" fmla="*/ 486832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1859533 h 4868320"/>
              <a:gd name="connsiteX1" fmla="*/ 2555870 w 5140317"/>
              <a:gd name="connsiteY1" fmla="*/ 0 h 4868320"/>
              <a:gd name="connsiteX2" fmla="*/ 5140317 w 5140317"/>
              <a:gd name="connsiteY2" fmla="*/ 526030 h 4868320"/>
              <a:gd name="connsiteX3" fmla="*/ 4268836 w 5140317"/>
              <a:gd name="connsiteY3" fmla="*/ 4849270 h 4868320"/>
              <a:gd name="connsiteX4" fmla="*/ 976256 w 5140317"/>
              <a:gd name="connsiteY4" fmla="*/ 4868320 h 4868320"/>
              <a:gd name="connsiteX5" fmla="*/ 0 w 5140317"/>
              <a:gd name="connsiteY5" fmla="*/ 1859533 h 4868320"/>
              <a:gd name="connsiteX0" fmla="*/ 0 w 5140317"/>
              <a:gd name="connsiteY0" fmla="*/ 2221486 h 5230273"/>
              <a:gd name="connsiteX1" fmla="*/ 2212973 w 5140317"/>
              <a:gd name="connsiteY1" fmla="*/ 0 h 5230273"/>
              <a:gd name="connsiteX2" fmla="*/ 5140317 w 5140317"/>
              <a:gd name="connsiteY2" fmla="*/ 887983 h 5230273"/>
              <a:gd name="connsiteX3" fmla="*/ 4268836 w 5140317"/>
              <a:gd name="connsiteY3" fmla="*/ 5211223 h 5230273"/>
              <a:gd name="connsiteX4" fmla="*/ 976256 w 5140317"/>
              <a:gd name="connsiteY4" fmla="*/ 5230273 h 5230273"/>
              <a:gd name="connsiteX5" fmla="*/ 0 w 5140317"/>
              <a:gd name="connsiteY5" fmla="*/ 2221486 h 5230273"/>
              <a:gd name="connsiteX0" fmla="*/ 0 w 4178292"/>
              <a:gd name="connsiteY0" fmla="*/ 897511 h 5230273"/>
              <a:gd name="connsiteX1" fmla="*/ 1250948 w 4178292"/>
              <a:gd name="connsiteY1" fmla="*/ 0 h 5230273"/>
              <a:gd name="connsiteX2" fmla="*/ 4178292 w 4178292"/>
              <a:gd name="connsiteY2" fmla="*/ 887983 h 5230273"/>
              <a:gd name="connsiteX3" fmla="*/ 3306811 w 4178292"/>
              <a:gd name="connsiteY3" fmla="*/ 5211223 h 5230273"/>
              <a:gd name="connsiteX4" fmla="*/ 14231 w 4178292"/>
              <a:gd name="connsiteY4" fmla="*/ 5230273 h 5230273"/>
              <a:gd name="connsiteX5" fmla="*/ 0 w 4178292"/>
              <a:gd name="connsiteY5" fmla="*/ 897511 h 5230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292" h="5230273">
                <a:moveTo>
                  <a:pt x="0" y="897511"/>
                </a:moveTo>
                <a:lnTo>
                  <a:pt x="1250948" y="0"/>
                </a:lnTo>
                <a:lnTo>
                  <a:pt x="4178292" y="887983"/>
                </a:lnTo>
                <a:lnTo>
                  <a:pt x="3306811" y="5211223"/>
                </a:lnTo>
                <a:lnTo>
                  <a:pt x="14231" y="5230273"/>
                </a:lnTo>
                <a:cubicBezTo>
                  <a:pt x="9487" y="3786019"/>
                  <a:pt x="4744" y="2341765"/>
                  <a:pt x="0" y="897511"/>
                </a:cubicBez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32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8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4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58BE726-622E-4AFF-B420-75AE6279A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C5806F2C-E410-40E2-9B3D-71D2E6759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52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ráfico 3">
            <a:extLst>
              <a:ext uri="{FF2B5EF4-FFF2-40B4-BE49-F238E27FC236}">
                <a16:creationId xmlns:a16="http://schemas.microsoft.com/office/drawing/2014/main" id="{C9142CBD-55F3-42BC-8791-08064199D41C}"/>
              </a:ext>
            </a:extLst>
          </p:cNvPr>
          <p:cNvSpPr/>
          <p:nvPr userDrawn="1"/>
        </p:nvSpPr>
        <p:spPr>
          <a:xfrm rot="16200000">
            <a:off x="-1659603" y="-5357242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accent4">
                <a:lumMod val="75000"/>
                <a:alpha val="56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7E4A6E42-2AA6-405D-9C59-F59EF7076799}"/>
              </a:ext>
            </a:extLst>
          </p:cNvPr>
          <p:cNvSpPr/>
          <p:nvPr userDrawn="1"/>
        </p:nvSpPr>
        <p:spPr>
          <a:xfrm rot="8004683">
            <a:off x="78830" y="-1367014"/>
            <a:ext cx="4340861" cy="4429864"/>
          </a:xfrm>
          <a:custGeom>
            <a:avLst/>
            <a:gdLst>
              <a:gd name="connsiteX0" fmla="*/ 835272 w 2358556"/>
              <a:gd name="connsiteY0" fmla="*/ 0 h 2736563"/>
              <a:gd name="connsiteX1" fmla="*/ 2358556 w 2358556"/>
              <a:gd name="connsiteY1" fmla="*/ 2103068 h 2736563"/>
              <a:gd name="connsiteX2" fmla="*/ 1821862 w 2358556"/>
              <a:gd name="connsiteY2" fmla="*/ 2736563 h 2736563"/>
              <a:gd name="connsiteX3" fmla="*/ 1184 w 2358556"/>
              <a:gd name="connsiteY3" fmla="*/ 2736563 h 2736563"/>
              <a:gd name="connsiteX4" fmla="*/ 0 w 2358556"/>
              <a:gd name="connsiteY4" fmla="*/ 2734944 h 2736563"/>
              <a:gd name="connsiteX5" fmla="*/ 0 w 2358556"/>
              <a:gd name="connsiteY5" fmla="*/ 478869 h 2736563"/>
              <a:gd name="connsiteX6" fmla="*/ 835272 w 2358556"/>
              <a:gd name="connsiteY6" fmla="*/ 0 h 2736563"/>
              <a:gd name="connsiteX0" fmla="*/ 1449502 w 2972786"/>
              <a:gd name="connsiteY0" fmla="*/ 0 h 2736563"/>
              <a:gd name="connsiteX1" fmla="*/ 2972786 w 2972786"/>
              <a:gd name="connsiteY1" fmla="*/ 2103068 h 2736563"/>
              <a:gd name="connsiteX2" fmla="*/ 2436092 w 2972786"/>
              <a:gd name="connsiteY2" fmla="*/ 2736563 h 2736563"/>
              <a:gd name="connsiteX3" fmla="*/ 615414 w 2972786"/>
              <a:gd name="connsiteY3" fmla="*/ 2736563 h 2736563"/>
              <a:gd name="connsiteX4" fmla="*/ 614230 w 2972786"/>
              <a:gd name="connsiteY4" fmla="*/ 2734944 h 2736563"/>
              <a:gd name="connsiteX5" fmla="*/ 0 w 2972786"/>
              <a:gd name="connsiteY5" fmla="*/ 813796 h 2736563"/>
              <a:gd name="connsiteX6" fmla="*/ 1449502 w 2972786"/>
              <a:gd name="connsiteY6" fmla="*/ 0 h 2736563"/>
              <a:gd name="connsiteX0" fmla="*/ 1459520 w 2972786"/>
              <a:gd name="connsiteY0" fmla="*/ 0 h 2322479"/>
              <a:gd name="connsiteX1" fmla="*/ 2972786 w 2972786"/>
              <a:gd name="connsiteY1" fmla="*/ 1688984 h 2322479"/>
              <a:gd name="connsiteX2" fmla="*/ 2436092 w 2972786"/>
              <a:gd name="connsiteY2" fmla="*/ 2322479 h 2322479"/>
              <a:gd name="connsiteX3" fmla="*/ 615414 w 2972786"/>
              <a:gd name="connsiteY3" fmla="*/ 2322479 h 2322479"/>
              <a:gd name="connsiteX4" fmla="*/ 614230 w 2972786"/>
              <a:gd name="connsiteY4" fmla="*/ 2320860 h 2322479"/>
              <a:gd name="connsiteX5" fmla="*/ 0 w 2972786"/>
              <a:gd name="connsiteY5" fmla="*/ 399712 h 2322479"/>
              <a:gd name="connsiteX6" fmla="*/ 1459520 w 2972786"/>
              <a:gd name="connsiteY6" fmla="*/ 0 h 2322479"/>
              <a:gd name="connsiteX0" fmla="*/ 1538835 w 2972786"/>
              <a:gd name="connsiteY0" fmla="*/ 0 h 2605861"/>
              <a:gd name="connsiteX1" fmla="*/ 2972786 w 2972786"/>
              <a:gd name="connsiteY1" fmla="*/ 1972366 h 2605861"/>
              <a:gd name="connsiteX2" fmla="*/ 2436092 w 2972786"/>
              <a:gd name="connsiteY2" fmla="*/ 2605861 h 2605861"/>
              <a:gd name="connsiteX3" fmla="*/ 615414 w 2972786"/>
              <a:gd name="connsiteY3" fmla="*/ 2605861 h 2605861"/>
              <a:gd name="connsiteX4" fmla="*/ 614230 w 2972786"/>
              <a:gd name="connsiteY4" fmla="*/ 2604242 h 2605861"/>
              <a:gd name="connsiteX5" fmla="*/ 0 w 2972786"/>
              <a:gd name="connsiteY5" fmla="*/ 683094 h 2605861"/>
              <a:gd name="connsiteX6" fmla="*/ 1538835 w 2972786"/>
              <a:gd name="connsiteY6" fmla="*/ 0 h 260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72786" h="2605861">
                <a:moveTo>
                  <a:pt x="1538835" y="0"/>
                </a:moveTo>
                <a:lnTo>
                  <a:pt x="2972786" y="1972366"/>
                </a:lnTo>
                <a:lnTo>
                  <a:pt x="2436092" y="2605861"/>
                </a:lnTo>
                <a:lnTo>
                  <a:pt x="615414" y="2605861"/>
                </a:lnTo>
                <a:lnTo>
                  <a:pt x="614230" y="2604242"/>
                </a:lnTo>
                <a:lnTo>
                  <a:pt x="0" y="683094"/>
                </a:lnTo>
                <a:lnTo>
                  <a:pt x="1538835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E9A957-2E57-4138-9B91-DCD340160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2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E9A957-2E57-4138-9B91-DCD3401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0343F38B-2340-4D82-99F3-C864A49609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850" y="521745"/>
            <a:ext cx="1913114" cy="722107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8A06258C-0262-48CA-A70B-5A9CF3F51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374685"/>
            <a:ext cx="4908550" cy="2353015"/>
          </a:xfrm>
        </p:spPr>
        <p:txBody>
          <a:bodyPr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F1E985A7-BAEA-44B1-BA5F-A4B880F23E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850" y="5890828"/>
            <a:ext cx="4908550" cy="3365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ate</a:t>
            </a:r>
          </a:p>
        </p:txBody>
      </p:sp>
      <p:pic>
        <p:nvPicPr>
          <p:cNvPr id="10" name="Marcador de posición de imagen 5" descr="Una imagen de un campo&#10;&#10;Descripción generada automáticamente">
            <a:extLst>
              <a:ext uri="{FF2B5EF4-FFF2-40B4-BE49-F238E27FC236}">
                <a16:creationId xmlns:a16="http://schemas.microsoft.com/office/drawing/2014/main" id="{1DECE1F1-7030-4A8F-BBE4-50E6CBA625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41810" y="2070846"/>
            <a:ext cx="3883390" cy="3842810"/>
          </a:xfrm>
          <a:prstGeom prst="round2SameRect">
            <a:avLst>
              <a:gd name="adj1" fmla="val 47898"/>
              <a:gd name="adj2" fmla="val 0"/>
            </a:avLst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E77C4C6C-6BC2-4508-87FF-6648DF99C3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6898850" y="1663337"/>
            <a:ext cx="4557600" cy="456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12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74628594-A8DF-48D6-8900-F4E41596F342}"/>
              </a:ext>
            </a:extLst>
          </p:cNvPr>
          <p:cNvSpPr/>
          <p:nvPr userDrawn="1"/>
        </p:nvSpPr>
        <p:spPr>
          <a:xfrm>
            <a:off x="0" y="220143"/>
            <a:ext cx="3326816" cy="6698181"/>
          </a:xfrm>
          <a:custGeom>
            <a:avLst/>
            <a:gdLst>
              <a:gd name="connsiteX0" fmla="*/ 0 w 3173797"/>
              <a:gd name="connsiteY0" fmla="*/ 0 h 6390094"/>
              <a:gd name="connsiteX1" fmla="*/ 142909 w 3173797"/>
              <a:gd name="connsiteY1" fmla="*/ 3614 h 6390094"/>
              <a:gd name="connsiteX2" fmla="*/ 3173797 w 3173797"/>
              <a:gd name="connsiteY2" fmla="*/ 3194775 h 6390094"/>
              <a:gd name="connsiteX3" fmla="*/ 3173797 w 3173797"/>
              <a:gd name="connsiteY3" fmla="*/ 6390094 h 6390094"/>
              <a:gd name="connsiteX4" fmla="*/ 0 w 3173797"/>
              <a:gd name="connsiteY4" fmla="*/ 6390094 h 6390094"/>
              <a:gd name="connsiteX5" fmla="*/ 0 w 3173797"/>
              <a:gd name="connsiteY5" fmla="*/ 0 h 6390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3797" h="6390094">
                <a:moveTo>
                  <a:pt x="0" y="0"/>
                </a:moveTo>
                <a:lnTo>
                  <a:pt x="142909" y="3614"/>
                </a:lnTo>
                <a:cubicBezTo>
                  <a:pt x="1831219" y="89194"/>
                  <a:pt x="3173797" y="1485197"/>
                  <a:pt x="3173797" y="3194775"/>
                </a:cubicBezTo>
                <a:lnTo>
                  <a:pt x="3173797" y="6390094"/>
                </a:lnTo>
                <a:lnTo>
                  <a:pt x="0" y="63900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9229FB-DB8C-4DC9-BDB0-F53BDDE78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6279" y="365125"/>
            <a:ext cx="9392558" cy="678815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40" name="Rectángulo 33">
            <a:extLst>
              <a:ext uri="{FF2B5EF4-FFF2-40B4-BE49-F238E27FC236}">
                <a16:creationId xmlns:a16="http://schemas.microsoft.com/office/drawing/2014/main" id="{057FD87F-67A0-4B2F-8EDC-A42668C1C596}"/>
              </a:ext>
            </a:extLst>
          </p:cNvPr>
          <p:cNvSpPr/>
          <p:nvPr userDrawn="1"/>
        </p:nvSpPr>
        <p:spPr>
          <a:xfrm rot="4163199">
            <a:off x="11562511" y="6405117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Marcador de número de diapositiva 40">
            <a:extLst>
              <a:ext uri="{FF2B5EF4-FFF2-40B4-BE49-F238E27FC236}">
                <a16:creationId xmlns:a16="http://schemas.microsoft.com/office/drawing/2014/main" id="{D62C4411-0C77-4D1D-A121-9DD06E49E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4" y="6492985"/>
            <a:ext cx="73977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476E36-D14F-478C-80AD-5F152C8A886F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601F1E3-ADD7-4A59-BF65-36C586FF0329}"/>
              </a:ext>
            </a:extLst>
          </p:cNvPr>
          <p:cNvSpPr/>
          <p:nvPr userDrawn="1"/>
        </p:nvSpPr>
        <p:spPr>
          <a:xfrm>
            <a:off x="2633799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3CFEB8-8917-4526-A3EF-BB006F3B37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32368E5-BD5B-4DF6-81E6-CCE02FDE6773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algn="l"/>
            <a:endParaRPr lang="es-ES" sz="1600" dirty="0" err="1">
              <a:solidFill>
                <a:schemeClr val="tx1"/>
              </a:solidFill>
            </a:endParaRPr>
          </a:p>
        </p:txBody>
      </p:sp>
      <p:pic>
        <p:nvPicPr>
          <p:cNvPr id="10" name="Marcador de posición de imagen 18" descr="Una imagen de un campo&#10;&#10;Descripción generada automáticamente">
            <a:extLst>
              <a:ext uri="{FF2B5EF4-FFF2-40B4-BE49-F238E27FC236}">
                <a16:creationId xmlns:a16="http://schemas.microsoft.com/office/drawing/2014/main" id="{65A9A967-DCDC-4024-8052-CE13DD7E8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7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3" r="16529" b="1016"/>
          <a:stretch/>
        </p:blipFill>
        <p:spPr>
          <a:xfrm>
            <a:off x="-45100" y="386047"/>
            <a:ext cx="3217573" cy="6387469"/>
          </a:xfrm>
          <a:custGeom>
            <a:avLst/>
            <a:gdLst>
              <a:gd name="connsiteX0" fmla="*/ 0 w 2910140"/>
              <a:gd name="connsiteY0" fmla="*/ 0 h 5796000"/>
              <a:gd name="connsiteX1" fmla="*/ 12140 w 2910140"/>
              <a:gd name="connsiteY1" fmla="*/ 0 h 5796000"/>
              <a:gd name="connsiteX2" fmla="*/ 2910140 w 2910140"/>
              <a:gd name="connsiteY2" fmla="*/ 2898000 h 5796000"/>
              <a:gd name="connsiteX3" fmla="*/ 2910140 w 2910140"/>
              <a:gd name="connsiteY3" fmla="*/ 5796000 h 5796000"/>
              <a:gd name="connsiteX4" fmla="*/ 0 w 2910140"/>
              <a:gd name="connsiteY4" fmla="*/ 5796000 h 57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63978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BD5837-EA7C-4302-A8DE-724FB062A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2463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7C2B030-29BB-4A39-9121-3F522EE11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E037FE-D338-427C-A9C8-A8BC6B5ACA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ext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A882E6F-514D-4672-9DFC-BCCFADCB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311C2-50F0-4D06-A9E6-63C5FFE54CA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671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5" r:id="rId3"/>
    <p:sldLayoutId id="2147483671" r:id="rId4"/>
    <p:sldLayoutId id="2147483672" r:id="rId5"/>
    <p:sldLayoutId id="2147483651" r:id="rId6"/>
    <p:sldLayoutId id="2147483669" r:id="rId7"/>
    <p:sldLayoutId id="2147483670" r:id="rId8"/>
    <p:sldLayoutId id="2147483668" r:id="rId9"/>
    <p:sldLayoutId id="2147483650" r:id="rId10"/>
    <p:sldLayoutId id="2147483666" r:id="rId11"/>
    <p:sldLayoutId id="2147483660" r:id="rId12"/>
    <p:sldLayoutId id="2147483661" r:id="rId13"/>
    <p:sldLayoutId id="2147483663" r:id="rId14"/>
    <p:sldLayoutId id="2147483673" r:id="rId15"/>
    <p:sldLayoutId id="2147483674" r:id="rId16"/>
    <p:sldLayoutId id="214748367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svg"/><Relationship Id="rId3" Type="http://schemas.openxmlformats.org/officeDocument/2006/relationships/tags" Target="../tags/tag10.xml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284D5D-E47E-4281-8D35-FEA04FCBEF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6" y="1221"/>
          <a:ext cx="1117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314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284D5D-E47E-4281-8D35-FEA04FCB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1221"/>
                        <a:ext cx="1117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306CED-B863-4301-AD5D-74DE0C61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Frank Bruce – Key Expert</a:t>
            </a:r>
            <a:endParaRPr lang="en-GH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2DD977-1D0B-41E3-9FC4-6B75D4E1C24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H" smtClean="0"/>
              <a:t>1</a:t>
            </a:fld>
            <a:endParaRPr lang="en-GH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AB3386-D2B5-4488-B88B-651287F8F4C6}"/>
              </a:ext>
            </a:extLst>
          </p:cNvPr>
          <p:cNvSpPr txBox="1"/>
          <p:nvPr/>
        </p:nvSpPr>
        <p:spPr>
          <a:xfrm>
            <a:off x="742950" y="1398250"/>
            <a:ext cx="4143267" cy="541686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18 years as Independent Commercial Consultant at Bruce R. Frank &amp; Associates (USA)</a:t>
            </a:r>
            <a:r>
              <a:rPr lang="en-US" sz="1200" dirty="0"/>
              <a:t> 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Advised Saudi farm company during an unsolicited takeover attempt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Predicted market viability of organic foods market for leading pesticide manufacturer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Identified alternative commercial applications for a military unmanned vehicle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eveloped diabetes related direct-to-consumer marketing programs for leading pharma company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Technology/business due diligence leading to investments and business turnaround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Facilitated strategy sessions with upper managements of Life Science and Industrial clients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Business strategy projects for multiple Life Science and Industrial clients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10 years at Roche Diagnostics, Inc. (Germany &amp; USA)</a:t>
            </a:r>
            <a:r>
              <a:rPr lang="en-US" sz="1200" dirty="0"/>
              <a:t> 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Director of sales – Large laboratory systems (USA)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Head of Diabetes Care Business Unit (Latin America)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Head of Diabetes Care Product Portfolio Management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Head of Worldwide Strategy &amp; Business Development</a:t>
            </a:r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5 years as Engagement Manager at McKinsey &amp; Company (Germany &amp; USA)</a:t>
            </a:r>
            <a:endParaRPr lang="en-US" sz="1200" dirty="0"/>
          </a:p>
          <a:p>
            <a:pPr marL="182880" indent="-182880" defTabSz="642915"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chemeClr val="accent1"/>
                </a:solidFill>
              </a:rPr>
              <a:t>4 years as General Manager at GFI, </a:t>
            </a:r>
            <a:r>
              <a:rPr lang="en-US" sz="1200" dirty="0">
                <a:solidFill>
                  <a:srgbClr val="FF0000"/>
                </a:solidFill>
              </a:rPr>
              <a:t>Inc. (USA)</a:t>
            </a:r>
          </a:p>
          <a:p>
            <a:pPr marL="366104" lvl="1" indent="-182880" defTabSz="642915"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/>
            </a:pPr>
            <a:r>
              <a:rPr lang="en-US" sz="1200" dirty="0"/>
              <a:t>Opened US venture capital business of the </a:t>
            </a:r>
            <a:r>
              <a:rPr lang="en-US" sz="1200" dirty="0" err="1"/>
              <a:t>Quandt</a:t>
            </a:r>
            <a:r>
              <a:rPr lang="en-US" sz="1200" dirty="0"/>
              <a:t> Industrial Holding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F92F476-1647-904E-90CD-5659456D684C}"/>
              </a:ext>
            </a:extLst>
          </p:cNvPr>
          <p:cNvSpPr txBox="1"/>
          <p:nvPr/>
        </p:nvSpPr>
        <p:spPr>
          <a:xfrm>
            <a:off x="5141843" y="4016574"/>
            <a:ext cx="2536837" cy="173893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lvl="0" algn="l" defTabSz="914400" hangingPunct="1">
              <a:lnSpc>
                <a:spcPct val="95000"/>
              </a:lnSpc>
              <a:defRPr sz="1700" kern="120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b="1" dirty="0"/>
              <a:t>Introduction</a:t>
            </a:r>
          </a:p>
          <a:p>
            <a:pPr algn="ctr">
              <a:lnSpc>
                <a:spcPct val="100000"/>
              </a:lnSpc>
              <a:spcAft>
                <a:spcPts val="300"/>
              </a:spcAft>
            </a:pPr>
            <a:r>
              <a:rPr lang="en-US" sz="1200" dirty="0"/>
              <a:t>For 18 years, Frank has provided commercial consulting services to Life Science and Industrial clients under the umbrella of Bruce R. Frank &amp; Associates (BRFA) – serving 50 clients; both large and small companies, throughout the world, including PE / venture capital firms and operating companies.</a:t>
            </a: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1E7EA8-92D9-40DD-AAD5-E4928BC848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04"/>
            <a:ext cx="111618" cy="111618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lang="en-US" sz="4000" b="1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5" name="Rectangle: Single Corner Rounded 34">
            <a:extLst>
              <a:ext uri="{FF2B5EF4-FFF2-40B4-BE49-F238E27FC236}">
                <a16:creationId xmlns:a16="http://schemas.microsoft.com/office/drawing/2014/main" id="{9BBCDC8E-89F5-437E-939B-366E3BD58DD7}"/>
              </a:ext>
            </a:extLst>
          </p:cNvPr>
          <p:cNvSpPr/>
          <p:nvPr/>
        </p:nvSpPr>
        <p:spPr>
          <a:xfrm>
            <a:off x="652964" y="935277"/>
            <a:ext cx="4327530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Professional experience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3261E2E6-1597-46A9-A538-79DD99E271D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02158" y="967232"/>
            <a:ext cx="340892" cy="343274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BA7CAA17-C9FE-4198-BDE9-2B36416BEF38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61178" y="1030791"/>
            <a:ext cx="216156" cy="216156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06666BE2-C215-7944-B1CC-1B1842C95FC1}"/>
              </a:ext>
            </a:extLst>
          </p:cNvPr>
          <p:cNvSpPr txBox="1"/>
          <p:nvPr/>
        </p:nvSpPr>
        <p:spPr>
          <a:xfrm>
            <a:off x="8040215" y="1421161"/>
            <a:ext cx="3590369" cy="12234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171450" lvl="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/>
                </a:solidFill>
              </a:rPr>
              <a:t>Frank holds a </a:t>
            </a:r>
            <a:r>
              <a:rPr lang="en-US" sz="1200" dirty="0">
                <a:solidFill>
                  <a:srgbClr val="FF0000"/>
                </a:solidFill>
              </a:rPr>
              <a:t>BA in Biology </a:t>
            </a:r>
            <a:r>
              <a:rPr lang="en-US" sz="1200" dirty="0">
                <a:solidFill>
                  <a:prstClr val="black"/>
                </a:solidFill>
              </a:rPr>
              <a:t>from the </a:t>
            </a:r>
            <a:r>
              <a:rPr lang="en-US" sz="1200" dirty="0">
                <a:solidFill>
                  <a:srgbClr val="FF0000"/>
                </a:solidFill>
              </a:rPr>
              <a:t>University of Pennsylvania</a:t>
            </a:r>
            <a:r>
              <a:rPr lang="en-US" sz="1200" dirty="0">
                <a:solidFill>
                  <a:prstClr val="black"/>
                </a:solidFill>
              </a:rPr>
              <a:t> (USA)</a:t>
            </a:r>
          </a:p>
          <a:p>
            <a:pPr marL="171450" lvl="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/>
                </a:solidFill>
              </a:rPr>
              <a:t>He also holds an </a:t>
            </a:r>
            <a:r>
              <a:rPr lang="en-US" sz="1200" dirty="0">
                <a:solidFill>
                  <a:srgbClr val="FF0000"/>
                </a:solidFill>
              </a:rPr>
              <a:t>MBA (Finance and Management) </a:t>
            </a:r>
            <a:r>
              <a:rPr lang="en-US" sz="1200" dirty="0">
                <a:solidFill>
                  <a:prstClr val="black"/>
                </a:solidFill>
              </a:rPr>
              <a:t>from the </a:t>
            </a:r>
            <a:r>
              <a:rPr lang="en-US" sz="1200" dirty="0">
                <a:solidFill>
                  <a:srgbClr val="FF0000"/>
                </a:solidFill>
              </a:rPr>
              <a:t>Wharton School of Business</a:t>
            </a:r>
            <a:r>
              <a:rPr lang="en-US" sz="1200" dirty="0">
                <a:solidFill>
                  <a:prstClr val="black"/>
                </a:solidFill>
              </a:rPr>
              <a:t> (USA)</a:t>
            </a:r>
          </a:p>
          <a:p>
            <a:pPr marL="171450" lvl="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/>
                </a:solidFill>
              </a:rPr>
              <a:t>He speaks </a:t>
            </a:r>
            <a:r>
              <a:rPr lang="en-US" sz="1200" dirty="0">
                <a:solidFill>
                  <a:srgbClr val="FF0000"/>
                </a:solidFill>
              </a:rPr>
              <a:t>German</a:t>
            </a:r>
            <a:r>
              <a:rPr lang="en-US" sz="1200" dirty="0">
                <a:solidFill>
                  <a:prstClr val="black"/>
                </a:solidFill>
              </a:rPr>
              <a:t> (business fluent), </a:t>
            </a:r>
            <a:r>
              <a:rPr lang="en-US" sz="1200" dirty="0">
                <a:solidFill>
                  <a:srgbClr val="FF0000"/>
                </a:solidFill>
              </a:rPr>
              <a:t>French</a:t>
            </a:r>
            <a:r>
              <a:rPr lang="en-US" sz="1200" dirty="0">
                <a:solidFill>
                  <a:prstClr val="black"/>
                </a:solidFill>
              </a:rPr>
              <a:t> (basic) and </a:t>
            </a:r>
            <a:r>
              <a:rPr lang="en-US" sz="1200" dirty="0">
                <a:solidFill>
                  <a:srgbClr val="FF0000"/>
                </a:solidFill>
              </a:rPr>
              <a:t>Spanish</a:t>
            </a:r>
            <a:r>
              <a:rPr lang="en-US" sz="1200" dirty="0">
                <a:solidFill>
                  <a:prstClr val="black"/>
                </a:solidFill>
              </a:rPr>
              <a:t> (basic)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49" name="Rectangle: Single Corner Rounded 41">
            <a:extLst>
              <a:ext uri="{FF2B5EF4-FFF2-40B4-BE49-F238E27FC236}">
                <a16:creationId xmlns:a16="http://schemas.microsoft.com/office/drawing/2014/main" id="{00094CAF-E069-7C4B-96D1-D5C6EC5BBB96}"/>
              </a:ext>
            </a:extLst>
          </p:cNvPr>
          <p:cNvSpPr/>
          <p:nvPr/>
        </p:nvSpPr>
        <p:spPr>
          <a:xfrm>
            <a:off x="7934550" y="935277"/>
            <a:ext cx="3801698" cy="407185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2" tIns="35718" rIns="64292" bIns="35718" numCol="1" spcCol="38100" rtlCol="0" anchor="ctr">
            <a:noAutofit/>
          </a:bodyPr>
          <a:lstStyle/>
          <a:p>
            <a:pPr algn="l"/>
            <a:r>
              <a:rPr lang="en-US" sz="1200" dirty="0">
                <a:solidFill>
                  <a:srgbClr val="FFFFFF"/>
                </a:solidFill>
                <a:sym typeface="Helvetica Neue Medium"/>
              </a:rPr>
              <a:t>Education and skills</a:t>
            </a:r>
          </a:p>
        </p:txBody>
      </p:sp>
      <p:pic>
        <p:nvPicPr>
          <p:cNvPr id="50" name="Graphic 49">
            <a:extLst>
              <a:ext uri="{FF2B5EF4-FFF2-40B4-BE49-F238E27FC236}">
                <a16:creationId xmlns:a16="http://schemas.microsoft.com/office/drawing/2014/main" id="{44D054DB-D8FC-A04F-B32B-6E65059A56D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357912" y="967232"/>
            <a:ext cx="340892" cy="343274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50324797-45A4-4949-9B89-A4F109F6E11E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430105" y="1040617"/>
            <a:ext cx="196505" cy="196505"/>
          </a:xfrm>
          <a:prstGeom prst="rect">
            <a:avLst/>
          </a:prstGeom>
        </p:spPr>
      </p:pic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D438697D-F8CD-F84B-B9AC-18178B5C8A5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312541371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7xua3I8JxRtuI.i.Up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DmXJhct5jz9sAf1mH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OR6L7Pq1Tw8CrmarVF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ustom 1">
      <a:dk1>
        <a:srgbClr val="201F27"/>
      </a:dk1>
      <a:lt1>
        <a:srgbClr val="FFFFFF"/>
      </a:lt1>
      <a:dk2>
        <a:srgbClr val="DB222A"/>
      </a:dk2>
      <a:lt2>
        <a:srgbClr val="D2D2D4"/>
      </a:lt2>
      <a:accent1>
        <a:srgbClr val="DB222A"/>
      </a:accent1>
      <a:accent2>
        <a:srgbClr val="C3B0D6"/>
      </a:accent2>
      <a:accent3>
        <a:srgbClr val="026453"/>
      </a:accent3>
      <a:accent4>
        <a:srgbClr val="A2D9D0"/>
      </a:accent4>
      <a:accent5>
        <a:srgbClr val="FFC70A"/>
      </a:accent5>
      <a:accent6>
        <a:srgbClr val="F3818B"/>
      </a:accent6>
      <a:hlink>
        <a:srgbClr val="DB222A"/>
      </a:hlink>
      <a:folHlink>
        <a:srgbClr val="DB222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71</TotalTime>
  <Words>287</Words>
  <Application>Microsoft Macintosh PowerPoint</Application>
  <PresentationFormat>Widescreen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 Light</vt:lpstr>
      <vt:lpstr>PF Square Sans Pro</vt:lpstr>
      <vt:lpstr>SF Pro Display Semibold</vt:lpstr>
      <vt:lpstr>Wingdings</vt:lpstr>
      <vt:lpstr>Wingdings 3</vt:lpstr>
      <vt:lpstr>Tema de Office</vt:lpstr>
      <vt:lpstr>think-cell Slide</vt:lpstr>
      <vt:lpstr>Frank Bruce – Key Exper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adalupe Guisado</dc:creator>
  <cp:lastModifiedBy>Brian Antonio</cp:lastModifiedBy>
  <cp:revision>671</cp:revision>
  <dcterms:created xsi:type="dcterms:W3CDTF">2020-03-25T12:28:14Z</dcterms:created>
  <dcterms:modified xsi:type="dcterms:W3CDTF">2020-10-06T11:42:08Z</dcterms:modified>
</cp:coreProperties>
</file>